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3"/>
  </p:notesMasterIdLst>
  <p:handoutMasterIdLst>
    <p:handoutMasterId r:id="rId14"/>
  </p:handoutMasterIdLst>
  <p:sldIdLst>
    <p:sldId id="848" r:id="rId3"/>
    <p:sldId id="849" r:id="rId4"/>
    <p:sldId id="841" r:id="rId5"/>
    <p:sldId id="847" r:id="rId6"/>
    <p:sldId id="850" r:id="rId7"/>
    <p:sldId id="851" r:id="rId8"/>
    <p:sldId id="853" r:id="rId9"/>
    <p:sldId id="842" r:id="rId10"/>
    <p:sldId id="845" r:id="rId11"/>
    <p:sldId id="846" r:id="rId12"/>
  </p:sldIdLst>
  <p:sldSz cx="12192000" cy="6858000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Montserrat" panose="00000500000000000000" pitchFamily="50" charset="-52"/>
      <p:regular r:id="rId19"/>
      <p:bold r:id="rId20"/>
      <p:italic r:id="rId21"/>
      <p:boldItalic r:id="rId22"/>
    </p:embeddedFont>
    <p:embeddedFont>
      <p:font typeface="Tahoma" panose="020B0604030504040204" pitchFamily="34" charset="0"/>
      <p:regular r:id="rId23"/>
      <p:bold r:id="rId24"/>
    </p:embeddedFont>
  </p:embeddedFontLst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2976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>
    <p:extLst>
      <p:ext uri="{19B8F6BF-5375-455C-9EA6-DF929625EA0E}">
        <p15:presenceInfo xmlns:p15="http://schemas.microsoft.com/office/powerpoint/2012/main" userId="af37d32db2a53b2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FFFF7"/>
    <a:srgbClr val="13A160"/>
    <a:srgbClr val="008D34"/>
    <a:srgbClr val="8FAADC"/>
    <a:srgbClr val="F7D941"/>
    <a:srgbClr val="0ED145"/>
    <a:srgbClr val="00A8F3"/>
    <a:srgbClr val="B04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93585" autoAdjust="0"/>
  </p:normalViewPr>
  <p:slideViewPr>
    <p:cSldViewPr snapToGrid="0">
      <p:cViewPr varScale="1">
        <p:scale>
          <a:sx n="80" d="100"/>
          <a:sy n="80" d="100"/>
        </p:scale>
        <p:origin x="1771" y="58"/>
      </p:cViewPr>
      <p:guideLst>
        <p:guide pos="1459"/>
        <p:guide orient="horz" pos="2976"/>
        <p:guide pos="4770"/>
        <p:guide pos="3795"/>
        <p:guide pos="7015"/>
        <p:guide pos="3069"/>
        <p:guide orient="horz" pos="867"/>
        <p:guide orient="horz" pos="686"/>
        <p:guide orient="horz" pos="187"/>
        <p:guide orient="horz" pos="2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font" Target="fonts/font7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0.fntdata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06.07.2020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06.07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E4EA76-DF72-4876-A1A9-8232E1ACACC1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517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E4EA76-DF72-4876-A1A9-8232E1ACACC1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3361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E4EA76-DF72-4876-A1A9-8232E1ACACC1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0286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pic>
        <p:nvPicPr>
          <p:cNvPr id="8" name="Рисунок 7" descr="Изображение выглядит как кисть&#10;&#10;Автоматически созданное описание">
            <a:extLst>
              <a:ext uri="{FF2B5EF4-FFF2-40B4-BE49-F238E27FC236}">
                <a16:creationId xmlns:a16="http://schemas.microsoft.com/office/drawing/2014/main" id="{B63AF7F3-104E-4DF4-A36F-8172E8757D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5196" y="2407793"/>
            <a:ext cx="3659180" cy="3686485"/>
          </a:xfrm>
          <a:prstGeom prst="rect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4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91922C63-FF84-4330-80C4-BC753B36F3F6}"/>
              </a:ext>
            </a:extLst>
          </p:cNvPr>
          <p:cNvSpPr txBox="1"/>
          <p:nvPr/>
        </p:nvSpPr>
        <p:spPr>
          <a:xfrm>
            <a:off x="7280596" y="429882"/>
            <a:ext cx="18209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COVID-19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C5E2520-017E-4B21-B7AD-A1EFC7083A62}"/>
              </a:ext>
            </a:extLst>
          </p:cNvPr>
          <p:cNvSpPr/>
          <p:nvPr/>
        </p:nvSpPr>
        <p:spPr>
          <a:xfrm>
            <a:off x="192087" y="401935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писок изменений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работе сервиса (1/2)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A1546C5-CB9A-4A5B-A148-C8EF4CE06CAB}"/>
              </a:ext>
            </a:extLst>
          </p:cNvPr>
          <p:cNvSpPr/>
          <p:nvPr/>
        </p:nvSpPr>
        <p:spPr>
          <a:xfrm>
            <a:off x="626807" y="4205749"/>
            <a:ext cx="6469625" cy="21827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4FBE600-6346-4169-9304-6EDD79D97FD8}"/>
              </a:ext>
            </a:extLst>
          </p:cNvPr>
          <p:cNvSpPr/>
          <p:nvPr/>
        </p:nvSpPr>
        <p:spPr>
          <a:xfrm>
            <a:off x="631723" y="1564489"/>
            <a:ext cx="6469625" cy="21827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67A9126-FED6-4640-A6E1-96144254008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313" r="19032" b="46809"/>
          <a:stretch/>
        </p:blipFill>
        <p:spPr>
          <a:xfrm>
            <a:off x="730046" y="1643145"/>
            <a:ext cx="6263148" cy="199622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43E5F6D-2902-4339-AC57-BEE48EA0DDE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313" r="19032" b="46809"/>
          <a:stretch/>
        </p:blipFill>
        <p:spPr>
          <a:xfrm>
            <a:off x="730046" y="4293965"/>
            <a:ext cx="6263148" cy="199622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4E1D3C8-AA5B-472C-BCD1-F76E3FAE7F96}"/>
              </a:ext>
            </a:extLst>
          </p:cNvPr>
          <p:cNvSpPr txBox="1"/>
          <p:nvPr/>
        </p:nvSpPr>
        <p:spPr>
          <a:xfrm>
            <a:off x="626807" y="1175492"/>
            <a:ext cx="783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Было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485932-4634-4D20-9D0F-14568B9BAD49}"/>
              </a:ext>
            </a:extLst>
          </p:cNvPr>
          <p:cNvSpPr txBox="1"/>
          <p:nvPr/>
        </p:nvSpPr>
        <p:spPr>
          <a:xfrm>
            <a:off x="626807" y="3836417"/>
            <a:ext cx="783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тало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3226485E-E897-4E2C-8EEB-A2E5D0BF3EF5}"/>
              </a:ext>
            </a:extLst>
          </p:cNvPr>
          <p:cNvSpPr/>
          <p:nvPr/>
        </p:nvSpPr>
        <p:spPr>
          <a:xfrm>
            <a:off x="5246370" y="4770120"/>
            <a:ext cx="1676400" cy="1562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84E032-336B-4816-A117-9034A3BC02A4}"/>
              </a:ext>
            </a:extLst>
          </p:cNvPr>
          <p:cNvSpPr txBox="1"/>
          <p:nvPr/>
        </p:nvSpPr>
        <p:spPr>
          <a:xfrm>
            <a:off x="5175946" y="4763586"/>
            <a:ext cx="145542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ректировки информации о пациентах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D34518C6-999B-473D-A7F3-B784A1218421}"/>
              </a:ext>
            </a:extLst>
          </p:cNvPr>
          <p:cNvSpPr/>
          <p:nvPr/>
        </p:nvSpPr>
        <p:spPr>
          <a:xfrm>
            <a:off x="6180065" y="232216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D930A216-D55E-46B4-B2DB-2FE43E3FF6D8}"/>
              </a:ext>
            </a:extLst>
          </p:cNvPr>
          <p:cNvGrpSpPr/>
          <p:nvPr/>
        </p:nvGrpSpPr>
        <p:grpSpPr>
          <a:xfrm>
            <a:off x="6304957" y="2447624"/>
            <a:ext cx="524597" cy="393097"/>
            <a:chOff x="3399652" y="1293586"/>
            <a:chExt cx="524597" cy="393097"/>
          </a:xfrm>
        </p:grpSpPr>
        <p:sp>
          <p:nvSpPr>
            <p:cNvPr id="21" name="Стрелка: вниз 20">
              <a:extLst>
                <a:ext uri="{FF2B5EF4-FFF2-40B4-BE49-F238E27FC236}">
                  <a16:creationId xmlns:a16="http://schemas.microsoft.com/office/drawing/2014/main" id="{40D7F28E-48D4-4924-B86A-79385E1F3E30}"/>
                </a:ext>
              </a:extLst>
            </p:cNvPr>
            <p:cNvSpPr/>
            <p:nvPr/>
          </p:nvSpPr>
          <p:spPr>
            <a:xfrm rot="7709436">
              <a:off x="3445021" y="124821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95E8618-4E14-4B40-9767-CA3CF0F5DF89}"/>
                </a:ext>
              </a:extLst>
            </p:cNvPr>
            <p:cNvSpPr txBox="1"/>
            <p:nvPr/>
          </p:nvSpPr>
          <p:spPr>
            <a:xfrm>
              <a:off x="3569753" y="134812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8018454B-07C4-457B-8EB4-65CCCEECF9F7}"/>
              </a:ext>
            </a:extLst>
          </p:cNvPr>
          <p:cNvSpPr/>
          <p:nvPr/>
        </p:nvSpPr>
        <p:spPr>
          <a:xfrm>
            <a:off x="7551431" y="3269027"/>
            <a:ext cx="3610992" cy="146159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DBD7EE-8518-4B5F-8349-05B1856D6BF3}"/>
              </a:ext>
            </a:extLst>
          </p:cNvPr>
          <p:cNvSpPr txBox="1"/>
          <p:nvPr/>
        </p:nvSpPr>
        <p:spPr>
          <a:xfrm>
            <a:off x="7677335" y="3308059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655EA9E-8CDB-4A8A-8AF2-CFB005796BB1}"/>
              </a:ext>
            </a:extLst>
          </p:cNvPr>
          <p:cNvSpPr txBox="1"/>
          <p:nvPr/>
        </p:nvSpPr>
        <p:spPr>
          <a:xfrm>
            <a:off x="7686666" y="3336051"/>
            <a:ext cx="347575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  Было изменено наименование сервиса с «Пациенты два ПЦР отрицательных, не выздоровел» на «Корректировка информации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 пациентах»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6004B2A5-BA79-49D4-9A4F-785444246FA4}"/>
              </a:ext>
            </a:extLst>
          </p:cNvPr>
          <p:cNvSpPr/>
          <p:nvPr/>
        </p:nvSpPr>
        <p:spPr>
          <a:xfrm>
            <a:off x="6172691" y="493939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66CE61D4-C595-49CE-9C4D-672CBD24A4AE}"/>
              </a:ext>
            </a:extLst>
          </p:cNvPr>
          <p:cNvGrpSpPr/>
          <p:nvPr/>
        </p:nvGrpSpPr>
        <p:grpSpPr>
          <a:xfrm>
            <a:off x="6297583" y="5064861"/>
            <a:ext cx="524597" cy="393097"/>
            <a:chOff x="3399652" y="1293586"/>
            <a:chExt cx="524597" cy="393097"/>
          </a:xfrm>
        </p:grpSpPr>
        <p:sp>
          <p:nvSpPr>
            <p:cNvPr id="28" name="Стрелка: вниз 27">
              <a:extLst>
                <a:ext uri="{FF2B5EF4-FFF2-40B4-BE49-F238E27FC236}">
                  <a16:creationId xmlns:a16="http://schemas.microsoft.com/office/drawing/2014/main" id="{AB778C33-68A1-41FA-A0F1-2022883F2563}"/>
                </a:ext>
              </a:extLst>
            </p:cNvPr>
            <p:cNvSpPr/>
            <p:nvPr/>
          </p:nvSpPr>
          <p:spPr>
            <a:xfrm rot="7709436">
              <a:off x="3445021" y="124821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20AD4FE-765E-4126-B38F-219606A4D0B1}"/>
                </a:ext>
              </a:extLst>
            </p:cNvPr>
            <p:cNvSpPr txBox="1"/>
            <p:nvPr/>
          </p:nvSpPr>
          <p:spPr>
            <a:xfrm>
              <a:off x="3569753" y="134812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83751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E2EBC6D0-0110-47F9-8A09-2320D6B1BD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953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41AC30AA-40CA-444E-A436-EF4A1017C996}"/>
              </a:ext>
            </a:extLst>
          </p:cNvPr>
          <p:cNvSpPr/>
          <p:nvPr/>
        </p:nvSpPr>
        <p:spPr>
          <a:xfrm>
            <a:off x="1739583" y="2613557"/>
            <a:ext cx="8077843" cy="8142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188DC79F-5B17-4368-9FEE-32E827082487}"/>
              </a:ext>
            </a:extLst>
          </p:cNvPr>
          <p:cNvSpPr/>
          <p:nvPr/>
        </p:nvSpPr>
        <p:spPr>
          <a:xfrm>
            <a:off x="1739583" y="1341438"/>
            <a:ext cx="8077843" cy="11376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796348D-12F2-4947-831D-1BC7F0A8D17F}"/>
              </a:ext>
            </a:extLst>
          </p:cNvPr>
          <p:cNvSpPr/>
          <p:nvPr/>
        </p:nvSpPr>
        <p:spPr>
          <a:xfrm>
            <a:off x="226812" y="571379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ратная связь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04B8B-D5B4-4563-A533-76F3781CEAD3}"/>
              </a:ext>
            </a:extLst>
          </p:cNvPr>
          <p:cNvSpPr txBox="1"/>
          <p:nvPr/>
        </p:nvSpPr>
        <p:spPr>
          <a:xfrm>
            <a:off x="1951430" y="1475955"/>
            <a:ext cx="77249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ь обратную связь в виде списка пациентов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иложением 1*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которых не удалось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тработать по заданному в презентации алгоритму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EFBC57-B473-42F0-8B62-3B07B1B87916}"/>
              </a:ext>
            </a:extLst>
          </p:cNvPr>
          <p:cNvSpPr txBox="1"/>
          <p:nvPr/>
        </p:nvSpPr>
        <p:spPr>
          <a:xfrm>
            <a:off x="1951430" y="2739998"/>
            <a:ext cx="54579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иложении 1*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предложить критерии пациентов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ля организации соответствующих выгрузок 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0DD71EE2-D2F0-4D90-BEDC-C81CB12A5674}"/>
              </a:ext>
            </a:extLst>
          </p:cNvPr>
          <p:cNvSpPr/>
          <p:nvPr/>
        </p:nvSpPr>
        <p:spPr>
          <a:xfrm>
            <a:off x="1795950" y="5186986"/>
            <a:ext cx="8021476" cy="9656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B02F9C-37EA-4AF4-8283-418B23B321A9}"/>
              </a:ext>
            </a:extLst>
          </p:cNvPr>
          <p:cNvSpPr txBox="1"/>
          <p:nvPr/>
        </p:nvSpPr>
        <p:spPr>
          <a:xfrm>
            <a:off x="1951430" y="5333631"/>
            <a:ext cx="54579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братную связь выслать по электронному адресу: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ksejdavydenko@gmail.com</a:t>
            </a:r>
            <a:endParaRPr lang="ru-RU" sz="1600" u="sng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6A366E5-8D95-4E12-9372-C2A1A6BCC8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120672"/>
              </p:ext>
            </p:extLst>
          </p:nvPr>
        </p:nvGraphicFramePr>
        <p:xfrm>
          <a:off x="1795950" y="3822779"/>
          <a:ext cx="8021477" cy="12169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6336">
                  <a:extLst>
                    <a:ext uri="{9D8B030D-6E8A-4147-A177-3AD203B41FA5}">
                      <a16:colId xmlns:a16="http://schemas.microsoft.com/office/drawing/2014/main" val="2029998612"/>
                    </a:ext>
                  </a:extLst>
                </a:gridCol>
                <a:gridCol w="574071">
                  <a:extLst>
                    <a:ext uri="{9D8B030D-6E8A-4147-A177-3AD203B41FA5}">
                      <a16:colId xmlns:a16="http://schemas.microsoft.com/office/drawing/2014/main" val="384912717"/>
                    </a:ext>
                  </a:extLst>
                </a:gridCol>
                <a:gridCol w="744741">
                  <a:extLst>
                    <a:ext uri="{9D8B030D-6E8A-4147-A177-3AD203B41FA5}">
                      <a16:colId xmlns:a16="http://schemas.microsoft.com/office/drawing/2014/main" val="766398303"/>
                    </a:ext>
                  </a:extLst>
                </a:gridCol>
                <a:gridCol w="1163657">
                  <a:extLst>
                    <a:ext uri="{9D8B030D-6E8A-4147-A177-3AD203B41FA5}">
                      <a16:colId xmlns:a16="http://schemas.microsoft.com/office/drawing/2014/main" val="1131407502"/>
                    </a:ext>
                  </a:extLst>
                </a:gridCol>
                <a:gridCol w="1163657">
                  <a:extLst>
                    <a:ext uri="{9D8B030D-6E8A-4147-A177-3AD203B41FA5}">
                      <a16:colId xmlns:a16="http://schemas.microsoft.com/office/drawing/2014/main" val="1970926662"/>
                    </a:ext>
                  </a:extLst>
                </a:gridCol>
                <a:gridCol w="2529015">
                  <a:extLst>
                    <a:ext uri="{9D8B030D-6E8A-4147-A177-3AD203B41FA5}">
                      <a16:colId xmlns:a16="http://schemas.microsoft.com/office/drawing/2014/main" val="1738611262"/>
                    </a:ext>
                  </a:extLst>
                </a:gridCol>
              </a:tblGrid>
              <a:tr h="28888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 МО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 списка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618065"/>
                  </a:ext>
                </a:extLst>
              </a:tr>
              <a:tr h="28888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-/-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676399"/>
                  </a:ext>
                </a:extLst>
              </a:tr>
              <a:tr h="27733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-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354884"/>
                  </a:ext>
                </a:extLst>
              </a:tr>
              <a:tr h="27733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+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768647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6C2D557-AE0C-4687-90CF-621C6520CC1D}"/>
              </a:ext>
            </a:extLst>
          </p:cNvPr>
          <p:cNvSpPr txBox="1"/>
          <p:nvPr/>
        </p:nvSpPr>
        <p:spPr>
          <a:xfrm>
            <a:off x="8430768" y="3514558"/>
            <a:ext cx="163049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*  - Приложение 1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7068344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0F4E5B6-51CC-4FBE-BD2B-BA6957C2D7D9}"/>
              </a:ext>
            </a:extLst>
          </p:cNvPr>
          <p:cNvSpPr/>
          <p:nvPr/>
        </p:nvSpPr>
        <p:spPr>
          <a:xfrm>
            <a:off x="74621" y="3965163"/>
            <a:ext cx="8778789" cy="17410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9EDB87C-BD45-4ACD-920A-B3B914FC61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377" t="7852" r="7722" b="68562"/>
          <a:stretch/>
        </p:blipFill>
        <p:spPr>
          <a:xfrm>
            <a:off x="125869" y="4155478"/>
            <a:ext cx="8603477" cy="1459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1922C63-FF84-4330-80C4-BC753B36F3F6}"/>
              </a:ext>
            </a:extLst>
          </p:cNvPr>
          <p:cNvSpPr txBox="1"/>
          <p:nvPr/>
        </p:nvSpPr>
        <p:spPr>
          <a:xfrm>
            <a:off x="7280596" y="429882"/>
            <a:ext cx="18209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COVID-19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C5E2520-017E-4B21-B7AD-A1EFC7083A62}"/>
              </a:ext>
            </a:extLst>
          </p:cNvPr>
          <p:cNvSpPr/>
          <p:nvPr/>
        </p:nvSpPr>
        <p:spPr>
          <a:xfrm>
            <a:off x="192087" y="401935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писок изменений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работе сервиса (2/2)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245A7AE-3B45-47CE-A50B-1E87DAA55CC9}"/>
              </a:ext>
            </a:extLst>
          </p:cNvPr>
          <p:cNvSpPr/>
          <p:nvPr/>
        </p:nvSpPr>
        <p:spPr>
          <a:xfrm>
            <a:off x="74619" y="1691780"/>
            <a:ext cx="8778791" cy="1828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3C6E54A-B303-445B-81E3-57A62FFB533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210" t="7599" r="9435" b="68889"/>
          <a:stretch/>
        </p:blipFill>
        <p:spPr>
          <a:xfrm>
            <a:off x="185634" y="1799985"/>
            <a:ext cx="8543712" cy="161249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EB564F1-8220-4007-ABB3-441A0C20250E}"/>
              </a:ext>
            </a:extLst>
          </p:cNvPr>
          <p:cNvSpPr txBox="1"/>
          <p:nvPr/>
        </p:nvSpPr>
        <p:spPr>
          <a:xfrm>
            <a:off x="643786" y="1402531"/>
            <a:ext cx="783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Было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33BF69-F7A7-4B38-9AC0-0EA62296AD54}"/>
              </a:ext>
            </a:extLst>
          </p:cNvPr>
          <p:cNvSpPr txBox="1"/>
          <p:nvPr/>
        </p:nvSpPr>
        <p:spPr>
          <a:xfrm>
            <a:off x="643786" y="3674263"/>
            <a:ext cx="783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тало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902D25C-6100-400F-ACD5-0D8EDD36B0E3}"/>
              </a:ext>
            </a:extLst>
          </p:cNvPr>
          <p:cNvSpPr/>
          <p:nvPr/>
        </p:nvSpPr>
        <p:spPr>
          <a:xfrm>
            <a:off x="1497278" y="2404942"/>
            <a:ext cx="2278380" cy="129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3DA40FD8-122C-446A-9259-077E27399CFE}"/>
              </a:ext>
            </a:extLst>
          </p:cNvPr>
          <p:cNvSpPr/>
          <p:nvPr/>
        </p:nvSpPr>
        <p:spPr>
          <a:xfrm>
            <a:off x="3923799" y="124283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59C0B9D5-E7C4-4B36-8F1D-6AFD4649D3B9}"/>
              </a:ext>
            </a:extLst>
          </p:cNvPr>
          <p:cNvGrpSpPr/>
          <p:nvPr/>
        </p:nvGrpSpPr>
        <p:grpSpPr>
          <a:xfrm>
            <a:off x="3905790" y="1384309"/>
            <a:ext cx="549301" cy="408324"/>
            <a:chOff x="7352209" y="2616827"/>
            <a:chExt cx="549301" cy="408324"/>
          </a:xfrm>
        </p:grpSpPr>
        <p:sp>
          <p:nvSpPr>
            <p:cNvPr id="20" name="Стрелка: вниз 19">
              <a:extLst>
                <a:ext uri="{FF2B5EF4-FFF2-40B4-BE49-F238E27FC236}">
                  <a16:creationId xmlns:a16="http://schemas.microsoft.com/office/drawing/2014/main" id="{0FDA0529-9FBD-4D11-8E86-FE01A8C4D43E}"/>
                </a:ext>
              </a:extLst>
            </p:cNvPr>
            <p:cNvSpPr/>
            <p:nvPr/>
          </p:nvSpPr>
          <p:spPr>
            <a:xfrm rot="3250089">
              <a:off x="7397578" y="281773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D477FC4-5F45-4DDD-BB3A-A2C4C3A928DA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Овал 21">
            <a:extLst>
              <a:ext uri="{FF2B5EF4-FFF2-40B4-BE49-F238E27FC236}">
                <a16:creationId xmlns:a16="http://schemas.microsoft.com/office/drawing/2014/main" id="{28DD0843-AFCF-4C48-80FA-DDB6118667EA}"/>
              </a:ext>
            </a:extLst>
          </p:cNvPr>
          <p:cNvSpPr/>
          <p:nvPr/>
        </p:nvSpPr>
        <p:spPr>
          <a:xfrm>
            <a:off x="8322118" y="254298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E695B98-CED7-4CE8-9082-2DE7509A1876}"/>
              </a:ext>
            </a:extLst>
          </p:cNvPr>
          <p:cNvGrpSpPr/>
          <p:nvPr/>
        </p:nvGrpSpPr>
        <p:grpSpPr>
          <a:xfrm>
            <a:off x="8304109" y="2684460"/>
            <a:ext cx="549301" cy="408324"/>
            <a:chOff x="7352209" y="2616827"/>
            <a:chExt cx="549301" cy="408324"/>
          </a:xfrm>
        </p:grpSpPr>
        <p:sp>
          <p:nvSpPr>
            <p:cNvPr id="24" name="Стрелка: вниз 23">
              <a:extLst>
                <a:ext uri="{FF2B5EF4-FFF2-40B4-BE49-F238E27FC236}">
                  <a16:creationId xmlns:a16="http://schemas.microsoft.com/office/drawing/2014/main" id="{EC9AFD01-08CB-4D4E-B0CD-945D41AB79A6}"/>
                </a:ext>
              </a:extLst>
            </p:cNvPr>
            <p:cNvSpPr/>
            <p:nvPr/>
          </p:nvSpPr>
          <p:spPr>
            <a:xfrm rot="3250089">
              <a:off x="7397578" y="281773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5AEBCE-9BA8-44E8-A34B-3ACB6F53B975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Овал 25">
            <a:extLst>
              <a:ext uri="{FF2B5EF4-FFF2-40B4-BE49-F238E27FC236}">
                <a16:creationId xmlns:a16="http://schemas.microsoft.com/office/drawing/2014/main" id="{5C86A051-C636-4BDC-B8D5-E68988AC714D}"/>
              </a:ext>
            </a:extLst>
          </p:cNvPr>
          <p:cNvSpPr/>
          <p:nvPr/>
        </p:nvSpPr>
        <p:spPr>
          <a:xfrm>
            <a:off x="5283057" y="180243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694EB561-302B-4452-B5A5-1B87E207594D}"/>
              </a:ext>
            </a:extLst>
          </p:cNvPr>
          <p:cNvGrpSpPr/>
          <p:nvPr/>
        </p:nvGrpSpPr>
        <p:grpSpPr>
          <a:xfrm>
            <a:off x="5265048" y="1943908"/>
            <a:ext cx="549301" cy="408324"/>
            <a:chOff x="7352209" y="2616827"/>
            <a:chExt cx="549301" cy="408324"/>
          </a:xfrm>
        </p:grpSpPr>
        <p:sp>
          <p:nvSpPr>
            <p:cNvPr id="28" name="Стрелка: вниз 27">
              <a:extLst>
                <a:ext uri="{FF2B5EF4-FFF2-40B4-BE49-F238E27FC236}">
                  <a16:creationId xmlns:a16="http://schemas.microsoft.com/office/drawing/2014/main" id="{83DE2F05-DC39-488F-ABCB-9B46DF60D972}"/>
                </a:ext>
              </a:extLst>
            </p:cNvPr>
            <p:cNvSpPr/>
            <p:nvPr/>
          </p:nvSpPr>
          <p:spPr>
            <a:xfrm rot="3250089">
              <a:off x="7397578" y="281773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0EF4A8F-CCCE-4AC5-9A98-F148FAE19486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Овал 33">
            <a:extLst>
              <a:ext uri="{FF2B5EF4-FFF2-40B4-BE49-F238E27FC236}">
                <a16:creationId xmlns:a16="http://schemas.microsoft.com/office/drawing/2014/main" id="{54D0371F-00A7-44C0-822A-6922963218BB}"/>
              </a:ext>
            </a:extLst>
          </p:cNvPr>
          <p:cNvSpPr/>
          <p:nvPr/>
        </p:nvSpPr>
        <p:spPr>
          <a:xfrm>
            <a:off x="5777913" y="277975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17B80593-AEC5-476D-BF62-976AC2A08428}"/>
              </a:ext>
            </a:extLst>
          </p:cNvPr>
          <p:cNvGrpSpPr/>
          <p:nvPr/>
        </p:nvGrpSpPr>
        <p:grpSpPr>
          <a:xfrm>
            <a:off x="5739921" y="2875457"/>
            <a:ext cx="569284" cy="384319"/>
            <a:chOff x="7332226" y="2571062"/>
            <a:chExt cx="569284" cy="384319"/>
          </a:xfrm>
        </p:grpSpPr>
        <p:sp>
          <p:nvSpPr>
            <p:cNvPr id="36" name="Стрелка: вниз 35">
              <a:extLst>
                <a:ext uri="{FF2B5EF4-FFF2-40B4-BE49-F238E27FC236}">
                  <a16:creationId xmlns:a16="http://schemas.microsoft.com/office/drawing/2014/main" id="{7DC8FC2A-340A-45A4-B891-C3B7BC856E3B}"/>
                </a:ext>
              </a:extLst>
            </p:cNvPr>
            <p:cNvSpPr/>
            <p:nvPr/>
          </p:nvSpPr>
          <p:spPr>
            <a:xfrm rot="7232670">
              <a:off x="7377595" y="2525693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E8535F7-5C7E-45F3-B06F-A85BD601F2F6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8" name="Овал 37">
            <a:extLst>
              <a:ext uri="{FF2B5EF4-FFF2-40B4-BE49-F238E27FC236}">
                <a16:creationId xmlns:a16="http://schemas.microsoft.com/office/drawing/2014/main" id="{DCA9579C-D85C-44EE-B9F8-F86E035DDC4D}"/>
              </a:ext>
            </a:extLst>
          </p:cNvPr>
          <p:cNvSpPr/>
          <p:nvPr/>
        </p:nvSpPr>
        <p:spPr>
          <a:xfrm>
            <a:off x="5304469" y="541908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9D6C5FA0-2B0C-499B-BA25-50341A8302E3}"/>
              </a:ext>
            </a:extLst>
          </p:cNvPr>
          <p:cNvGrpSpPr/>
          <p:nvPr/>
        </p:nvGrpSpPr>
        <p:grpSpPr>
          <a:xfrm>
            <a:off x="5281395" y="5492646"/>
            <a:ext cx="554366" cy="406459"/>
            <a:chOff x="7347144" y="2548922"/>
            <a:chExt cx="554366" cy="406459"/>
          </a:xfrm>
        </p:grpSpPr>
        <p:sp>
          <p:nvSpPr>
            <p:cNvPr id="40" name="Стрелка: вниз 39">
              <a:extLst>
                <a:ext uri="{FF2B5EF4-FFF2-40B4-BE49-F238E27FC236}">
                  <a16:creationId xmlns:a16="http://schemas.microsoft.com/office/drawing/2014/main" id="{D6C5E350-0797-4285-B571-91D8D66CB6F4}"/>
                </a:ext>
              </a:extLst>
            </p:cNvPr>
            <p:cNvSpPr/>
            <p:nvPr/>
          </p:nvSpPr>
          <p:spPr>
            <a:xfrm rot="7619829">
              <a:off x="7392513" y="2503553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56B17EE-CF05-4229-ACC3-822534369581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2" name="Стрелка: вниз 41">
            <a:extLst>
              <a:ext uri="{FF2B5EF4-FFF2-40B4-BE49-F238E27FC236}">
                <a16:creationId xmlns:a16="http://schemas.microsoft.com/office/drawing/2014/main" id="{DB302D7A-68F2-41F1-889F-74F8DF7AA500}"/>
              </a:ext>
            </a:extLst>
          </p:cNvPr>
          <p:cNvSpPr/>
          <p:nvPr/>
        </p:nvSpPr>
        <p:spPr>
          <a:xfrm rot="13918608">
            <a:off x="5770595" y="5454056"/>
            <a:ext cx="162045" cy="252784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4BD7315-B730-49BF-B9AF-2D35F20EAC83}"/>
              </a:ext>
            </a:extLst>
          </p:cNvPr>
          <p:cNvSpPr txBox="1"/>
          <p:nvPr/>
        </p:nvSpPr>
        <p:spPr>
          <a:xfrm>
            <a:off x="8871997" y="1469645"/>
            <a:ext cx="22679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  Список изменений:</a:t>
            </a:r>
          </a:p>
        </p:txBody>
      </p: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25398B4E-BBA4-4B34-B210-852EBF5C6CB5}"/>
              </a:ext>
            </a:extLst>
          </p:cNvPr>
          <p:cNvSpPr/>
          <p:nvPr/>
        </p:nvSpPr>
        <p:spPr>
          <a:xfrm>
            <a:off x="9101544" y="1841425"/>
            <a:ext cx="2915701" cy="776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о на «Корректировка информации о пациентах»</a:t>
            </a:r>
          </a:p>
        </p:txBody>
      </p:sp>
      <p:sp>
        <p:nvSpPr>
          <p:cNvPr id="45" name="Прямоугольник: скругленные углы 44">
            <a:extLst>
              <a:ext uri="{FF2B5EF4-FFF2-40B4-BE49-F238E27FC236}">
                <a16:creationId xmlns:a16="http://schemas.microsoft.com/office/drawing/2014/main" id="{A9D46CBA-0142-40BE-A05D-BBD603C37B70}"/>
              </a:ext>
            </a:extLst>
          </p:cNvPr>
          <p:cNvSpPr/>
          <p:nvPr/>
        </p:nvSpPr>
        <p:spPr>
          <a:xfrm>
            <a:off x="9101544" y="2733597"/>
            <a:ext cx="2687224" cy="776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о на «Дата формирования списков»</a:t>
            </a:r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id="{04813BCF-A6C8-4F83-B7C7-5C5D2839E034}"/>
              </a:ext>
            </a:extLst>
          </p:cNvPr>
          <p:cNvSpPr/>
          <p:nvPr/>
        </p:nvSpPr>
        <p:spPr>
          <a:xfrm>
            <a:off x="9101544" y="3624382"/>
            <a:ext cx="2476278" cy="776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о на </a:t>
            </a:r>
            <a:b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ациентов в списке»</a:t>
            </a:r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C911361B-39D1-43F6-A07B-CE125879A8EE}"/>
              </a:ext>
            </a:extLst>
          </p:cNvPr>
          <p:cNvSpPr/>
          <p:nvPr/>
        </p:nvSpPr>
        <p:spPr>
          <a:xfrm>
            <a:off x="9101263" y="4515167"/>
            <a:ext cx="2267925" cy="776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о на </a:t>
            </a:r>
            <a:b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Сформировать список пациентов»</a:t>
            </a: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4E18889E-E69E-4D4D-A728-37E52C54EE60}"/>
              </a:ext>
            </a:extLst>
          </p:cNvPr>
          <p:cNvSpPr/>
          <p:nvPr/>
        </p:nvSpPr>
        <p:spPr>
          <a:xfrm>
            <a:off x="9112191" y="5405952"/>
            <a:ext cx="2728449" cy="7765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авлено два новых списка для корректировки информации о пациентах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4F49F9F4-DBA2-4021-AD19-0589FE660BC2}"/>
              </a:ext>
            </a:extLst>
          </p:cNvPr>
          <p:cNvSpPr/>
          <p:nvPr/>
        </p:nvSpPr>
        <p:spPr>
          <a:xfrm>
            <a:off x="1417398" y="4704103"/>
            <a:ext cx="2133522" cy="102190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6466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B06DAB9C-0809-4F55-A642-6CCEFD859B69}"/>
              </a:ext>
            </a:extLst>
          </p:cNvPr>
          <p:cNvSpPr/>
          <p:nvPr/>
        </p:nvSpPr>
        <p:spPr>
          <a:xfrm>
            <a:off x="504325" y="2045655"/>
            <a:ext cx="4619797" cy="18692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B781C2FA-5F12-43EF-875A-07D9E9967013}"/>
              </a:ext>
            </a:extLst>
          </p:cNvPr>
          <p:cNvSpPr/>
          <p:nvPr/>
        </p:nvSpPr>
        <p:spPr>
          <a:xfrm>
            <a:off x="504326" y="4060505"/>
            <a:ext cx="4619797" cy="18692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F945C2D2-CB02-49A2-8CA3-EA3F1A5DC5CF}"/>
              </a:ext>
            </a:extLst>
          </p:cNvPr>
          <p:cNvSpPr/>
          <p:nvPr/>
        </p:nvSpPr>
        <p:spPr>
          <a:xfrm>
            <a:off x="504329" y="4226003"/>
            <a:ext cx="46197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ыздоровел на текущий момен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ЦР+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-х суток от получения ПЦР+ результа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направления на исследо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ы после госпитализации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оспитализировавшиеся</a:t>
            </a:r>
            <a:endParaRPr 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81A0E2-8F8C-479E-B7C1-9F53C3272609}"/>
              </a:ext>
            </a:extLst>
          </p:cNvPr>
          <p:cNvSpPr/>
          <p:nvPr/>
        </p:nvSpPr>
        <p:spPr>
          <a:xfrm>
            <a:off x="452581" y="1341983"/>
            <a:ext cx="6456063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мбулаторное звено</a:t>
            </a:r>
            <a:b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вые списки для корректировки информации о пациентах: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922C63-FF84-4330-80C4-BC753B36F3F6}"/>
              </a:ext>
            </a:extLst>
          </p:cNvPr>
          <p:cNvSpPr txBox="1"/>
          <p:nvPr/>
        </p:nvSpPr>
        <p:spPr>
          <a:xfrm>
            <a:off x="7280596" y="429882"/>
            <a:ext cx="18209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COVID-19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C5E2520-017E-4B21-B7AD-A1EFC7083A62}"/>
              </a:ext>
            </a:extLst>
          </p:cNvPr>
          <p:cNvSpPr/>
          <p:nvPr/>
        </p:nvSpPr>
        <p:spPr>
          <a:xfrm>
            <a:off x="192087" y="401935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ритерии пациентов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ля формирования новых списков 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B7DD9E6-71AE-45D1-9393-787DDB50C73C}"/>
              </a:ext>
            </a:extLst>
          </p:cNvPr>
          <p:cNvSpPr/>
          <p:nvPr/>
        </p:nvSpPr>
        <p:spPr>
          <a:xfrm>
            <a:off x="7020630" y="2616239"/>
            <a:ext cx="375285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ипы выявленных дефектов:</a:t>
            </a: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9676298B-49E7-4DAC-A830-9BD5D1B4A1DC}"/>
              </a:ext>
            </a:extLst>
          </p:cNvPr>
          <p:cNvSpPr/>
          <p:nvPr/>
        </p:nvSpPr>
        <p:spPr>
          <a:xfrm>
            <a:off x="6134710" y="2961996"/>
            <a:ext cx="5524691" cy="20570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6773569-17D0-4020-ABF1-55E0F051EB2C}"/>
              </a:ext>
            </a:extLst>
          </p:cNvPr>
          <p:cNvSpPr/>
          <p:nvPr/>
        </p:nvSpPr>
        <p:spPr>
          <a:xfrm>
            <a:off x="6250749" y="3106712"/>
            <a:ext cx="552469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в другой МО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отчет 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едеральном регистре результат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чения «Смерть»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19BB30-64C7-478C-960E-8BFC54AF2E9A}"/>
              </a:ext>
            </a:extLst>
          </p:cNvPr>
          <p:cNvSpPr txBox="1"/>
          <p:nvPr/>
        </p:nvSpPr>
        <p:spPr>
          <a:xfrm>
            <a:off x="504326" y="2212206"/>
            <a:ext cx="461979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ыздоровел на текущий момен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ЦР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х суток от получения ПЦР- результа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направления на исследо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ы после госпитализации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оспитализировавшиеся</a:t>
            </a:r>
            <a:endParaRPr 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557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B6584D3-BD88-4553-B701-EAB7066E62F3}"/>
              </a:ext>
            </a:extLst>
          </p:cNvPr>
          <p:cNvSpPr/>
          <p:nvPr/>
        </p:nvSpPr>
        <p:spPr>
          <a:xfrm>
            <a:off x="6151330" y="1488509"/>
            <a:ext cx="368617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ак исправить: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DA5E403-8A96-436F-BA96-4FF9EB316E42}"/>
              </a:ext>
            </a:extLst>
          </p:cNvPr>
          <p:cNvSpPr/>
          <p:nvPr/>
        </p:nvSpPr>
        <p:spPr>
          <a:xfrm>
            <a:off x="6151330" y="5678287"/>
            <a:ext cx="3422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ить результат лечения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ртотеке пациента «Смерть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423A99D-35C9-4267-87B2-56617A73BD29}"/>
              </a:ext>
            </a:extLst>
          </p:cNvPr>
          <p:cNvSpPr/>
          <p:nvPr/>
        </p:nvSpPr>
        <p:spPr>
          <a:xfrm>
            <a:off x="883995" y="5678287"/>
            <a:ext cx="32434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едеральном регистре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 лечения «Смерть»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явленные дефекты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у пациентах в новых списках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D63202-59D5-4D75-96CA-CB6BCE4F151A}"/>
              </a:ext>
            </a:extLst>
          </p:cNvPr>
          <p:cNvSpPr/>
          <p:nvPr/>
        </p:nvSpPr>
        <p:spPr>
          <a:xfrm>
            <a:off x="883995" y="1488509"/>
            <a:ext cx="375285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ипы выявленных дефектов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B9449A-F1B9-4DC7-B7ED-939E35D4AC86}"/>
              </a:ext>
            </a:extLst>
          </p:cNvPr>
          <p:cNvSpPr txBox="1"/>
          <p:nvPr/>
        </p:nvSpPr>
        <p:spPr>
          <a:xfrm>
            <a:off x="883995" y="2283424"/>
            <a:ext cx="26286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5273CC-F667-4350-8837-BF818154EB6E}"/>
              </a:ext>
            </a:extLst>
          </p:cNvPr>
          <p:cNvSpPr txBox="1"/>
          <p:nvPr/>
        </p:nvSpPr>
        <p:spPr>
          <a:xfrm>
            <a:off x="6151330" y="2168930"/>
            <a:ext cx="324526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ить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ублированных карточек в техподдержку для их объедине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DECD2F-32A1-4C24-8759-E6107F45BDE1}"/>
              </a:ext>
            </a:extLst>
          </p:cNvPr>
          <p:cNvSpPr txBox="1"/>
          <p:nvPr/>
        </p:nvSpPr>
        <p:spPr>
          <a:xfrm>
            <a:off x="883995" y="3338632"/>
            <a:ext cx="26286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помощь другой МО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D0392E-007F-4F66-B7DC-CF737BB65D3B}"/>
              </a:ext>
            </a:extLst>
          </p:cNvPr>
          <p:cNvSpPr txBox="1"/>
          <p:nvPr/>
        </p:nvSpPr>
        <p:spPr>
          <a:xfrm>
            <a:off x="6151330" y="3338716"/>
            <a:ext cx="52135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ую был переведен пациент о необходимости внести информацию о прикрепления пациент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39FD3F-3CFE-4B2B-8236-FDC2AC6CF07C}"/>
              </a:ext>
            </a:extLst>
          </p:cNvPr>
          <p:cNvSpPr txBox="1"/>
          <p:nvPr/>
        </p:nvSpPr>
        <p:spPr>
          <a:xfrm>
            <a:off x="883995" y="4375189"/>
            <a:ext cx="276076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отчет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FE5F07-3366-4DB1-A67D-EB2A5121A3DB}"/>
              </a:ext>
            </a:extLst>
          </p:cNvPr>
          <p:cNvSpPr txBox="1"/>
          <p:nvPr/>
        </p:nvSpPr>
        <p:spPr>
          <a:xfrm>
            <a:off x="6151330" y="4508502"/>
            <a:ext cx="56326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ой был госпитализирован пациент о необходимости внести информацию о госпитализации пациента</a:t>
            </a:r>
          </a:p>
        </p:txBody>
      </p:sp>
      <p:sp>
        <p:nvSpPr>
          <p:cNvPr id="21" name="Стрелка: вправо 20">
            <a:extLst>
              <a:ext uri="{FF2B5EF4-FFF2-40B4-BE49-F238E27FC236}">
                <a16:creationId xmlns:a16="http://schemas.microsoft.com/office/drawing/2014/main" id="{E2FCEB36-43A8-4B9D-85EE-FD240CD88958}"/>
              </a:ext>
            </a:extLst>
          </p:cNvPr>
          <p:cNvSpPr/>
          <p:nvPr/>
        </p:nvSpPr>
        <p:spPr>
          <a:xfrm>
            <a:off x="4347073" y="2397760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2C65BAF5-3287-4EB6-AE96-FF8992D28EC3}"/>
              </a:ext>
            </a:extLst>
          </p:cNvPr>
          <p:cNvSpPr/>
          <p:nvPr/>
        </p:nvSpPr>
        <p:spPr>
          <a:xfrm>
            <a:off x="4347073" y="3583398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: вправо 22">
            <a:extLst>
              <a:ext uri="{FF2B5EF4-FFF2-40B4-BE49-F238E27FC236}">
                <a16:creationId xmlns:a16="http://schemas.microsoft.com/office/drawing/2014/main" id="{9E964941-42CB-4903-9B6E-15EE21292DDA}"/>
              </a:ext>
            </a:extLst>
          </p:cNvPr>
          <p:cNvSpPr/>
          <p:nvPr/>
        </p:nvSpPr>
        <p:spPr>
          <a:xfrm>
            <a:off x="4347073" y="4723694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id="{F16A052D-81A2-4C44-8CE0-4479B4D5D759}"/>
              </a:ext>
            </a:extLst>
          </p:cNvPr>
          <p:cNvSpPr/>
          <p:nvPr/>
        </p:nvSpPr>
        <p:spPr>
          <a:xfrm>
            <a:off x="4347073" y="5803582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AEB333-BABE-4E78-99FF-21570CE2543F}"/>
              </a:ext>
            </a:extLst>
          </p:cNvPr>
          <p:cNvSpPr txBox="1"/>
          <p:nvPr/>
        </p:nvSpPr>
        <p:spPr>
          <a:xfrm rot="16200000">
            <a:off x="-597862" y="4164686"/>
            <a:ext cx="22341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информации 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«РЛПК»</a:t>
            </a:r>
          </a:p>
        </p:txBody>
      </p:sp>
      <p:sp>
        <p:nvSpPr>
          <p:cNvPr id="31" name="Левая фигурная скобка 30">
            <a:extLst>
              <a:ext uri="{FF2B5EF4-FFF2-40B4-BE49-F238E27FC236}">
                <a16:creationId xmlns:a16="http://schemas.microsoft.com/office/drawing/2014/main" id="{669E4DFE-0AA9-483F-98E2-CEB709DD49DC}"/>
              </a:ext>
            </a:extLst>
          </p:cNvPr>
          <p:cNvSpPr/>
          <p:nvPr/>
        </p:nvSpPr>
        <p:spPr>
          <a:xfrm>
            <a:off x="827148" y="3338632"/>
            <a:ext cx="56847" cy="2113775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43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B32E7B-2CF5-46F7-84D5-6255B479E1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64" t="7014" r="7834" b="84120"/>
          <a:stretch/>
        </p:blipFill>
        <p:spPr>
          <a:xfrm>
            <a:off x="300038" y="4874386"/>
            <a:ext cx="9407682" cy="622173"/>
          </a:xfrm>
          <a:prstGeom prst="rect">
            <a:avLst/>
          </a:prstGeom>
        </p:spPr>
      </p:pic>
      <p:sp>
        <p:nvSpPr>
          <p:cNvPr id="34" name="Овал 33">
            <a:extLst>
              <a:ext uri="{FF2B5EF4-FFF2-40B4-BE49-F238E27FC236}">
                <a16:creationId xmlns:a16="http://schemas.microsoft.com/office/drawing/2014/main" id="{C0BC2BEF-1CB6-49F5-A065-8ED6342E0B54}"/>
              </a:ext>
            </a:extLst>
          </p:cNvPr>
          <p:cNvSpPr/>
          <p:nvPr/>
        </p:nvSpPr>
        <p:spPr>
          <a:xfrm>
            <a:off x="8737020" y="467309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 пациентах в ИС «РЛПК»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A3284E4A-62C0-4D3D-ADD3-C08E77B99686}"/>
              </a:ext>
            </a:extLst>
          </p:cNvPr>
          <p:cNvSpPr/>
          <p:nvPr/>
        </p:nvSpPr>
        <p:spPr>
          <a:xfrm>
            <a:off x="6773180" y="1389934"/>
            <a:ext cx="4583455" cy="9070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DA75A3-7231-4895-981C-F8C0299F24FD}"/>
              </a:ext>
            </a:extLst>
          </p:cNvPr>
          <p:cNvSpPr txBox="1"/>
          <p:nvPr/>
        </p:nvSpPr>
        <p:spPr>
          <a:xfrm>
            <a:off x="6920838" y="13418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Задача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97A9250-7CED-4B49-A442-4089521A093C}"/>
              </a:ext>
            </a:extLst>
          </p:cNvPr>
          <p:cNvSpPr txBox="1"/>
          <p:nvPr/>
        </p:nvSpPr>
        <p:spPr>
          <a:xfrm>
            <a:off x="6938555" y="1689407"/>
            <a:ext cx="3978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слать задублированные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ациентов в тех. поддержку ИС «РЛПК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70E2A2C-9091-4D43-8C86-3829265B58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29" r="53633" b="71479"/>
          <a:stretch/>
        </p:blipFill>
        <p:spPr>
          <a:xfrm>
            <a:off x="300038" y="1405659"/>
            <a:ext cx="5653087" cy="165909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491E04D-AE22-4B3A-90CF-4F1B8EF664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29" r="57258" b="74767"/>
          <a:stretch/>
        </p:blipFill>
        <p:spPr>
          <a:xfrm>
            <a:off x="300038" y="3280592"/>
            <a:ext cx="5211107" cy="1433649"/>
          </a:xfrm>
          <a:prstGeom prst="rect">
            <a:avLst/>
          </a:prstGeom>
        </p:spPr>
      </p:pic>
      <p:sp>
        <p:nvSpPr>
          <p:cNvPr id="26" name="Овал 25">
            <a:extLst>
              <a:ext uri="{FF2B5EF4-FFF2-40B4-BE49-F238E27FC236}">
                <a16:creationId xmlns:a16="http://schemas.microsoft.com/office/drawing/2014/main" id="{72BC0EAC-9101-45FE-83BE-2FB99F5AF4A2}"/>
              </a:ext>
            </a:extLst>
          </p:cNvPr>
          <p:cNvSpPr/>
          <p:nvPr/>
        </p:nvSpPr>
        <p:spPr>
          <a:xfrm>
            <a:off x="1773849" y="185470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98A13CB3-9D2C-4A13-AB48-ABF545B9B7B0}"/>
              </a:ext>
            </a:extLst>
          </p:cNvPr>
          <p:cNvGrpSpPr/>
          <p:nvPr/>
        </p:nvGrpSpPr>
        <p:grpSpPr>
          <a:xfrm>
            <a:off x="1767552" y="1958456"/>
            <a:ext cx="466525" cy="434589"/>
            <a:chOff x="1582412" y="4493793"/>
            <a:chExt cx="466525" cy="434589"/>
          </a:xfrm>
        </p:grpSpPr>
        <p:sp>
          <p:nvSpPr>
            <p:cNvPr id="28" name="Стрелка: вниз 27">
              <a:extLst>
                <a:ext uri="{FF2B5EF4-FFF2-40B4-BE49-F238E27FC236}">
                  <a16:creationId xmlns:a16="http://schemas.microsoft.com/office/drawing/2014/main" id="{21536114-C5C4-48ED-BA42-EB30E14E9657}"/>
                </a:ext>
              </a:extLst>
            </p:cNvPr>
            <p:cNvSpPr/>
            <p:nvPr/>
          </p:nvSpPr>
          <p:spPr>
            <a:xfrm rot="3598459">
              <a:off x="1627781" y="472096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0C93CE-5208-406D-A52F-88792D5BA705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30" name="Овал 29">
            <a:extLst>
              <a:ext uri="{FF2B5EF4-FFF2-40B4-BE49-F238E27FC236}">
                <a16:creationId xmlns:a16="http://schemas.microsoft.com/office/drawing/2014/main" id="{A35A0847-DA33-4B8B-94CE-2FD1C7DD03BB}"/>
              </a:ext>
            </a:extLst>
          </p:cNvPr>
          <p:cNvSpPr/>
          <p:nvPr/>
        </p:nvSpPr>
        <p:spPr>
          <a:xfrm>
            <a:off x="3211489" y="267944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665083D4-55D2-4850-9AEA-755AF38B6BCA}"/>
              </a:ext>
            </a:extLst>
          </p:cNvPr>
          <p:cNvGrpSpPr/>
          <p:nvPr/>
        </p:nvGrpSpPr>
        <p:grpSpPr>
          <a:xfrm>
            <a:off x="3103048" y="2783201"/>
            <a:ext cx="568669" cy="338554"/>
            <a:chOff x="1480268" y="4493793"/>
            <a:chExt cx="568669" cy="338554"/>
          </a:xfrm>
        </p:grpSpPr>
        <p:sp>
          <p:nvSpPr>
            <p:cNvPr id="32" name="Стрелка: вниз 31">
              <a:extLst>
                <a:ext uri="{FF2B5EF4-FFF2-40B4-BE49-F238E27FC236}">
                  <a16:creationId xmlns:a16="http://schemas.microsoft.com/office/drawing/2014/main" id="{9C5A718C-F11D-4D53-AC4C-69B5FE496BB5}"/>
                </a:ext>
              </a:extLst>
            </p:cNvPr>
            <p:cNvSpPr/>
            <p:nvPr/>
          </p:nvSpPr>
          <p:spPr>
            <a:xfrm rot="6258702">
              <a:off x="1525637" y="452746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C3C93EF-8C54-48E7-93E1-257D14931D91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3FD3A3BF-E300-4337-BA14-0BD165E68571}"/>
              </a:ext>
            </a:extLst>
          </p:cNvPr>
          <p:cNvSpPr/>
          <p:nvPr/>
        </p:nvSpPr>
        <p:spPr>
          <a:xfrm>
            <a:off x="6792019" y="2373845"/>
            <a:ext cx="4564616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«РЛПК» выбрать «Данные пациента»</a:t>
            </a: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819C694F-BDBA-4A70-ABDD-89668A9A67DC}"/>
              </a:ext>
            </a:extLst>
          </p:cNvPr>
          <p:cNvSpPr/>
          <p:nvPr/>
        </p:nvSpPr>
        <p:spPr>
          <a:xfrm>
            <a:off x="6792019" y="2909143"/>
            <a:ext cx="4583455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явившемся окне выбрать «Картотека»</a:t>
            </a:r>
          </a:p>
        </p:txBody>
      </p: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F4DDDAD6-3F7B-4A49-87A6-C9E0CC3227EE}"/>
              </a:ext>
            </a:extLst>
          </p:cNvPr>
          <p:cNvSpPr/>
          <p:nvPr/>
        </p:nvSpPr>
        <p:spPr>
          <a:xfrm>
            <a:off x="6792019" y="3444441"/>
            <a:ext cx="4564616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явившемся окне выбрать «Поиск пациента»</a:t>
            </a: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99FD4CD-AB01-4E16-97CD-973A6E71212C}"/>
              </a:ext>
            </a:extLst>
          </p:cNvPr>
          <p:cNvGrpSpPr/>
          <p:nvPr/>
        </p:nvGrpSpPr>
        <p:grpSpPr>
          <a:xfrm>
            <a:off x="8796345" y="4776854"/>
            <a:ext cx="400903" cy="559930"/>
            <a:chOff x="1648034" y="4493793"/>
            <a:chExt cx="400903" cy="559930"/>
          </a:xfrm>
        </p:grpSpPr>
        <p:sp>
          <p:nvSpPr>
            <p:cNvPr id="36" name="Стрелка: вниз 35">
              <a:extLst>
                <a:ext uri="{FF2B5EF4-FFF2-40B4-BE49-F238E27FC236}">
                  <a16:creationId xmlns:a16="http://schemas.microsoft.com/office/drawing/2014/main" id="{EB31C21D-17F9-4442-B6DA-1A4C57875919}"/>
                </a:ext>
              </a:extLst>
            </p:cNvPr>
            <p:cNvSpPr/>
            <p:nvPr/>
          </p:nvSpPr>
          <p:spPr>
            <a:xfrm rot="2192260">
              <a:off x="1648034" y="4800939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C5933AE-9096-43F4-A62B-32CBE446ECC4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50" name="Овал 49">
            <a:extLst>
              <a:ext uri="{FF2B5EF4-FFF2-40B4-BE49-F238E27FC236}">
                <a16:creationId xmlns:a16="http://schemas.microsoft.com/office/drawing/2014/main" id="{522C0EE0-7688-4D17-A37D-7E0884C3F736}"/>
              </a:ext>
            </a:extLst>
          </p:cNvPr>
          <p:cNvSpPr/>
          <p:nvPr/>
        </p:nvSpPr>
        <p:spPr>
          <a:xfrm>
            <a:off x="5302885" y="325690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C3853088-B593-45EE-89D3-2978AA7A18AB}"/>
              </a:ext>
            </a:extLst>
          </p:cNvPr>
          <p:cNvGrpSpPr/>
          <p:nvPr/>
        </p:nvGrpSpPr>
        <p:grpSpPr>
          <a:xfrm>
            <a:off x="5362210" y="3360659"/>
            <a:ext cx="400903" cy="559930"/>
            <a:chOff x="1648034" y="4493793"/>
            <a:chExt cx="400903" cy="559930"/>
          </a:xfrm>
        </p:grpSpPr>
        <p:sp>
          <p:nvSpPr>
            <p:cNvPr id="52" name="Стрелка: вниз 51">
              <a:extLst>
                <a:ext uri="{FF2B5EF4-FFF2-40B4-BE49-F238E27FC236}">
                  <a16:creationId xmlns:a16="http://schemas.microsoft.com/office/drawing/2014/main" id="{8F8525DA-B7EC-466A-9BFB-B1FAED5EB098}"/>
                </a:ext>
              </a:extLst>
            </p:cNvPr>
            <p:cNvSpPr/>
            <p:nvPr/>
          </p:nvSpPr>
          <p:spPr>
            <a:xfrm rot="2192260">
              <a:off x="1648034" y="4800939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83F96C4-EF19-4221-B91D-6A84C016AEC1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F0190FEC-54F7-4630-B315-4B7585C3D0C9}"/>
              </a:ext>
            </a:extLst>
          </p:cNvPr>
          <p:cNvSpPr/>
          <p:nvPr/>
        </p:nvSpPr>
        <p:spPr>
          <a:xfrm>
            <a:off x="6792019" y="3970881"/>
            <a:ext cx="4564616" cy="4058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сти полностью ФИО пациента </a:t>
            </a:r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8F1FD9E0-89F7-47BD-B95D-EC0527F9E943}"/>
              </a:ext>
            </a:extLst>
          </p:cNvPr>
          <p:cNvSpPr/>
          <p:nvPr/>
        </p:nvSpPr>
        <p:spPr>
          <a:xfrm>
            <a:off x="738269" y="5694923"/>
            <a:ext cx="3366371" cy="80264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остовериться в том, что карточки принадлежать одному пациенту </a:t>
            </a:r>
          </a:p>
        </p:txBody>
      </p:sp>
      <p:sp>
        <p:nvSpPr>
          <p:cNvPr id="56" name="Прямоугольник: скругленные углы 55">
            <a:extLst>
              <a:ext uri="{FF2B5EF4-FFF2-40B4-BE49-F238E27FC236}">
                <a16:creationId xmlns:a16="http://schemas.microsoft.com/office/drawing/2014/main" id="{ED6C7482-D524-49A7-B249-6E3A24CF9C44}"/>
              </a:ext>
            </a:extLst>
          </p:cNvPr>
          <p:cNvSpPr/>
          <p:nvPr/>
        </p:nvSpPr>
        <p:spPr>
          <a:xfrm>
            <a:off x="4341377" y="5694922"/>
            <a:ext cx="4395643" cy="8026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овестить тех. поддержку ИС «РЛПК» </a:t>
            </a:r>
            <a:b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необходимости объединить карточки пациента через канал тех. поддержки в Телеграмм  </a:t>
            </a:r>
          </a:p>
        </p:txBody>
      </p:sp>
    </p:spTree>
    <p:extLst>
      <p:ext uri="{BB962C8B-B14F-4D97-AF65-F5344CB8AC3E}">
        <p14:creationId xmlns:p14="http://schemas.microsoft.com/office/powerpoint/2010/main" val="4053765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тсутствие информации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 пациенте в ИС «РЛПК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6F20C9-E0EE-4674-8454-DABA3D41E021}"/>
              </a:ext>
            </a:extLst>
          </p:cNvPr>
          <p:cNvSpPr txBox="1"/>
          <p:nvPr/>
        </p:nvSpPr>
        <p:spPr>
          <a:xfrm>
            <a:off x="902976" y="3041922"/>
            <a:ext cx="35152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помощь другой МО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06ED190-2D39-4282-8E79-CDBC31361A00}"/>
              </a:ext>
            </a:extLst>
          </p:cNvPr>
          <p:cNvSpPr txBox="1"/>
          <p:nvPr/>
        </p:nvSpPr>
        <p:spPr>
          <a:xfrm>
            <a:off x="902976" y="4245083"/>
            <a:ext cx="52913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отчет 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5DFC3C-31E8-4432-BC5B-E24D1BC87253}"/>
              </a:ext>
            </a:extLst>
          </p:cNvPr>
          <p:cNvSpPr txBox="1"/>
          <p:nvPr/>
        </p:nvSpPr>
        <p:spPr>
          <a:xfrm>
            <a:off x="902976" y="2410267"/>
            <a:ext cx="2628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ы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025105-41E2-4038-ADF4-9279817E61A5}"/>
              </a:ext>
            </a:extLst>
          </p:cNvPr>
          <p:cNvSpPr txBox="1"/>
          <p:nvPr/>
        </p:nvSpPr>
        <p:spPr>
          <a:xfrm>
            <a:off x="6470308" y="2410267"/>
            <a:ext cx="2628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: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CD4C4F-79E2-48C7-AEDA-9C5CA4F421CE}"/>
              </a:ext>
            </a:extLst>
          </p:cNvPr>
          <p:cNvSpPr txBox="1"/>
          <p:nvPr/>
        </p:nvSpPr>
        <p:spPr>
          <a:xfrm>
            <a:off x="6445970" y="2920067"/>
            <a:ext cx="52135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ую был переведен пациент о необходимости внести информацию о прикрепления пациент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EAD941-8F24-4261-88F2-5835E787E185}"/>
              </a:ext>
            </a:extLst>
          </p:cNvPr>
          <p:cNvSpPr txBox="1"/>
          <p:nvPr/>
        </p:nvSpPr>
        <p:spPr>
          <a:xfrm>
            <a:off x="6445970" y="4115384"/>
            <a:ext cx="56326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ой был госпитализирован пациент о необходимости внести информацию о госпитализации пациен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4423B4CE-B77D-4BCC-9E06-04CBC264B531}"/>
              </a:ext>
            </a:extLst>
          </p:cNvPr>
          <p:cNvCxnSpPr/>
          <p:nvPr/>
        </p:nvCxnSpPr>
        <p:spPr>
          <a:xfrm>
            <a:off x="1005840" y="3895138"/>
            <a:ext cx="10474960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AC3BE6B4-A91E-4521-9E87-73B6F18FA866}"/>
              </a:ext>
            </a:extLst>
          </p:cNvPr>
          <p:cNvCxnSpPr/>
          <p:nvPr/>
        </p:nvCxnSpPr>
        <p:spPr>
          <a:xfrm>
            <a:off x="1046480" y="2787698"/>
            <a:ext cx="10474960" cy="0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4164AA12-792E-43CF-89B1-2C47244C3895}"/>
              </a:ext>
            </a:extLst>
          </p:cNvPr>
          <p:cNvCxnSpPr>
            <a:cxnSpLocks/>
          </p:cNvCxnSpPr>
          <p:nvPr/>
        </p:nvCxnSpPr>
        <p:spPr>
          <a:xfrm>
            <a:off x="6085523" y="2410267"/>
            <a:ext cx="0" cy="2683751"/>
          </a:xfrm>
          <a:prstGeom prst="line">
            <a:avLst/>
          </a:prstGeom>
          <a:ln w="1270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6797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319088"/>
            <a:ext cx="63591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зультат лечения </a:t>
            </a:r>
            <a:b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федеральном регистре «Смерть»</a:t>
            </a:r>
          </a:p>
        </p:txBody>
      </p: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C3E12D60-4923-4A52-A75C-7EC26A4C49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939029"/>
              </p:ext>
            </p:extLst>
          </p:nvPr>
        </p:nvGraphicFramePr>
        <p:xfrm>
          <a:off x="324434" y="2212634"/>
          <a:ext cx="8237220" cy="1013460"/>
        </p:xfrm>
        <a:graphic>
          <a:graphicData uri="http://schemas.openxmlformats.org/drawingml/2006/table">
            <a:tbl>
              <a:tblPr/>
              <a:tblGrid>
                <a:gridCol w="746760">
                  <a:extLst>
                    <a:ext uri="{9D8B030D-6E8A-4147-A177-3AD203B41FA5}">
                      <a16:colId xmlns:a16="http://schemas.microsoft.com/office/drawing/2014/main" val="4046879735"/>
                    </a:ext>
                  </a:extLst>
                </a:gridCol>
                <a:gridCol w="987586">
                  <a:extLst>
                    <a:ext uri="{9D8B030D-6E8A-4147-A177-3AD203B41FA5}">
                      <a16:colId xmlns:a16="http://schemas.microsoft.com/office/drawing/2014/main" val="1541974358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953868831"/>
                    </a:ext>
                  </a:extLst>
                </a:gridCol>
                <a:gridCol w="1808480">
                  <a:extLst>
                    <a:ext uri="{9D8B030D-6E8A-4147-A177-3AD203B41FA5}">
                      <a16:colId xmlns:a16="http://schemas.microsoft.com/office/drawing/2014/main" val="596313408"/>
                    </a:ext>
                  </a:extLst>
                </a:gridCol>
                <a:gridCol w="1059654">
                  <a:extLst>
                    <a:ext uri="{9D8B030D-6E8A-4147-A177-3AD203B41FA5}">
                      <a16:colId xmlns:a16="http://schemas.microsoft.com/office/drawing/2014/main" val="865466298"/>
                    </a:ext>
                  </a:extLst>
                </a:gridCol>
                <a:gridCol w="2049780">
                  <a:extLst>
                    <a:ext uri="{9D8B030D-6E8A-4147-A177-3AD203B41FA5}">
                      <a16:colId xmlns:a16="http://schemas.microsoft.com/office/drawing/2014/main" val="888975097"/>
                    </a:ext>
                  </a:extLst>
                </a:gridCol>
              </a:tblGrid>
              <a:tr h="4648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i="0" dirty="0">
                          <a:effectLst/>
                          <a:latin typeface="Times New Roman" panose="02020603050405020304" pitchFamily="18" charset="0"/>
                        </a:rPr>
                        <a:t>ID</a:t>
                      </a:r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 пациен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Пациент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Фактический адрес пациен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Дата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Количество дней между текущей даты и датой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532261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22222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Иванов Иван Иванович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Улица Минина д.8 кв. 204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0.06.2020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506504"/>
                  </a:ext>
                </a:extLst>
              </a:tr>
            </a:tbl>
          </a:graphicData>
        </a:graphic>
      </p:graphicFrame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EDC0C9BA-F61C-4F94-BE03-D667F021C433}"/>
              </a:ext>
            </a:extLst>
          </p:cNvPr>
          <p:cNvSpPr/>
          <p:nvPr/>
        </p:nvSpPr>
        <p:spPr>
          <a:xfrm>
            <a:off x="2838564" y="3964971"/>
            <a:ext cx="3405293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9F0ED4DD-B2C4-4458-BA8C-40776738EDCB}"/>
              </a:ext>
            </a:extLst>
          </p:cNvPr>
          <p:cNvSpPr/>
          <p:nvPr/>
        </p:nvSpPr>
        <p:spPr>
          <a:xfrm>
            <a:off x="324434" y="3964970"/>
            <a:ext cx="2435024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37F5CC1-B9C3-4E31-B06F-6C091CED4A39}"/>
              </a:ext>
            </a:extLst>
          </p:cNvPr>
          <p:cNvSpPr txBox="1"/>
          <p:nvPr/>
        </p:nvSpPr>
        <p:spPr>
          <a:xfrm>
            <a:off x="2989444" y="4138637"/>
            <a:ext cx="29846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Поставить статус результата лечения «Смерть» </a:t>
            </a:r>
            <a:b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в картотеке пациента</a:t>
            </a:r>
            <a:endParaRPr lang="ru-RU" sz="15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7ACBFA-D84F-42A7-A594-ACB7AE1B6D51}"/>
              </a:ext>
            </a:extLst>
          </p:cNvPr>
          <p:cNvSpPr txBox="1"/>
          <p:nvPr/>
        </p:nvSpPr>
        <p:spPr>
          <a:xfrm>
            <a:off x="435906" y="4138636"/>
            <a:ext cx="247734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Двойное нажатие правой кнопкой мыши </a:t>
            </a:r>
            <a:b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пациента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83B7C300-5804-4924-BE64-0F793A16CCB2}"/>
              </a:ext>
            </a:extLst>
          </p:cNvPr>
          <p:cNvSpPr/>
          <p:nvPr/>
        </p:nvSpPr>
        <p:spPr>
          <a:xfrm>
            <a:off x="394374" y="4138636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B162C5F-6B6A-4ACB-9949-A10CB5BCB7D6}"/>
              </a:ext>
            </a:extLst>
          </p:cNvPr>
          <p:cNvSpPr/>
          <p:nvPr/>
        </p:nvSpPr>
        <p:spPr>
          <a:xfrm>
            <a:off x="2930831" y="4138637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A827B515-C8B5-4AB3-9DCF-C3BBE0974ECE}"/>
              </a:ext>
            </a:extLst>
          </p:cNvPr>
          <p:cNvSpPr/>
          <p:nvPr/>
        </p:nvSpPr>
        <p:spPr>
          <a:xfrm>
            <a:off x="839121" y="3253799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A981F506-A5F1-43CB-9E90-F71C3279F19A}"/>
              </a:ext>
            </a:extLst>
          </p:cNvPr>
          <p:cNvGrpSpPr/>
          <p:nvPr/>
        </p:nvGrpSpPr>
        <p:grpSpPr>
          <a:xfrm>
            <a:off x="893748" y="3160135"/>
            <a:ext cx="535913" cy="420871"/>
            <a:chOff x="1115732" y="3968549"/>
            <a:chExt cx="535913" cy="420871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792FFD-283E-42E9-A015-61B4DCF33FED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4" name="Стрелка: вниз 33">
              <a:extLst>
                <a:ext uri="{FF2B5EF4-FFF2-40B4-BE49-F238E27FC236}">
                  <a16:creationId xmlns:a16="http://schemas.microsoft.com/office/drawing/2014/main" id="{53849B8F-175F-4E27-81B4-F7C57F74F7AB}"/>
                </a:ext>
              </a:extLst>
            </p:cNvPr>
            <p:cNvSpPr/>
            <p:nvPr/>
          </p:nvSpPr>
          <p:spPr>
            <a:xfrm rot="13765029">
              <a:off x="1394921" y="3899043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5" name="Овал 34">
            <a:extLst>
              <a:ext uri="{FF2B5EF4-FFF2-40B4-BE49-F238E27FC236}">
                <a16:creationId xmlns:a16="http://schemas.microsoft.com/office/drawing/2014/main" id="{9307BB31-F5EC-4D8A-8AD5-8457D149BCBE}"/>
              </a:ext>
            </a:extLst>
          </p:cNvPr>
          <p:cNvSpPr/>
          <p:nvPr/>
        </p:nvSpPr>
        <p:spPr>
          <a:xfrm>
            <a:off x="8396747" y="6317505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249E45FD-6E08-4993-BD22-DEF918CC5B96}"/>
              </a:ext>
            </a:extLst>
          </p:cNvPr>
          <p:cNvGrpSpPr/>
          <p:nvPr/>
        </p:nvGrpSpPr>
        <p:grpSpPr>
          <a:xfrm>
            <a:off x="8446227" y="6322316"/>
            <a:ext cx="633081" cy="307777"/>
            <a:chOff x="8364759" y="6259187"/>
            <a:chExt cx="633081" cy="307777"/>
          </a:xfrm>
        </p:grpSpPr>
        <p:sp>
          <p:nvSpPr>
            <p:cNvPr id="37" name="Стрелка: вниз 36">
              <a:extLst>
                <a:ext uri="{FF2B5EF4-FFF2-40B4-BE49-F238E27FC236}">
                  <a16:creationId xmlns:a16="http://schemas.microsoft.com/office/drawing/2014/main" id="{C5FDD0D8-E7C4-4C72-B520-4F028C215772}"/>
                </a:ext>
              </a:extLst>
            </p:cNvPr>
            <p:cNvSpPr/>
            <p:nvPr/>
          </p:nvSpPr>
          <p:spPr>
            <a:xfrm rot="15934931">
              <a:off x="8741116" y="6249959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560AC34-E7A6-4AE3-9FAE-4D145FB2C9D3}"/>
                </a:ext>
              </a:extLst>
            </p:cNvPr>
            <p:cNvSpPr txBox="1"/>
            <p:nvPr/>
          </p:nvSpPr>
          <p:spPr>
            <a:xfrm>
              <a:off x="8364759" y="6259187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C02F572A-5AC4-4060-989C-B3C4EB1FCB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863" r="3047" b="22222"/>
          <a:stretch/>
        </p:blipFill>
        <p:spPr>
          <a:xfrm>
            <a:off x="9101544" y="1230215"/>
            <a:ext cx="2157006" cy="5521725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33E27470-7D75-42F8-92EC-716E5EA9D5FD}"/>
              </a:ext>
            </a:extLst>
          </p:cNvPr>
          <p:cNvSpPr/>
          <p:nvPr/>
        </p:nvSpPr>
        <p:spPr>
          <a:xfrm>
            <a:off x="10457099" y="1568396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DAA9AF75-B652-4866-B566-9EF44C9EBE86}"/>
              </a:ext>
            </a:extLst>
          </p:cNvPr>
          <p:cNvGrpSpPr/>
          <p:nvPr/>
        </p:nvGrpSpPr>
        <p:grpSpPr>
          <a:xfrm>
            <a:off x="10506579" y="1474786"/>
            <a:ext cx="586403" cy="406198"/>
            <a:chOff x="8364759" y="6160766"/>
            <a:chExt cx="586403" cy="406198"/>
          </a:xfrm>
        </p:grpSpPr>
        <p:sp>
          <p:nvSpPr>
            <p:cNvPr id="42" name="Стрелка: вниз 41">
              <a:extLst>
                <a:ext uri="{FF2B5EF4-FFF2-40B4-BE49-F238E27FC236}">
                  <a16:creationId xmlns:a16="http://schemas.microsoft.com/office/drawing/2014/main" id="{602CDB8C-2729-4919-B01C-EDA3DEC3D514}"/>
                </a:ext>
              </a:extLst>
            </p:cNvPr>
            <p:cNvSpPr/>
            <p:nvPr/>
          </p:nvSpPr>
          <p:spPr>
            <a:xfrm rot="13802491">
              <a:off x="8694438" y="6091260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0A50737-3265-4AF4-8F08-8BD100000833}"/>
                </a:ext>
              </a:extLst>
            </p:cNvPr>
            <p:cNvSpPr txBox="1"/>
            <p:nvPr/>
          </p:nvSpPr>
          <p:spPr>
            <a:xfrm>
              <a:off x="8364759" y="6259187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82D5BEF7-6B1D-4D8B-9760-1D33162F064D}"/>
              </a:ext>
            </a:extLst>
          </p:cNvPr>
          <p:cNvSpPr/>
          <p:nvPr/>
        </p:nvSpPr>
        <p:spPr>
          <a:xfrm>
            <a:off x="6329286" y="3964970"/>
            <a:ext cx="2477346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BE610F1-BFBC-4B96-9D21-D412F0F6EF24}"/>
              </a:ext>
            </a:extLst>
          </p:cNvPr>
          <p:cNvSpPr txBox="1"/>
          <p:nvPr/>
        </p:nvSpPr>
        <p:spPr>
          <a:xfrm>
            <a:off x="6440758" y="4138636"/>
            <a:ext cx="24773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Закрыть картотеку, перейти к корректировки данных следующего пациента (пункт 1)</a:t>
            </a: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81BB3F30-D15D-4FD9-B9E0-F7817E275082}"/>
              </a:ext>
            </a:extLst>
          </p:cNvPr>
          <p:cNvSpPr/>
          <p:nvPr/>
        </p:nvSpPr>
        <p:spPr>
          <a:xfrm>
            <a:off x="6399226" y="4138636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682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2FD88A6-A039-4F66-86E9-5C7F84AA42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3102" b="45278"/>
          <a:stretch/>
        </p:blipFill>
        <p:spPr>
          <a:xfrm>
            <a:off x="259344" y="1362844"/>
            <a:ext cx="10889473" cy="4358870"/>
          </a:xfrm>
          <a:prstGeom prst="rect">
            <a:avLst/>
          </a:prstGeom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ервиса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формированию списков пациентов (1/2)</a:t>
            </a: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выбрать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ервис «Корректировка информации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 пациентах»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426227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210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«Отчеты»</a:t>
            </a: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82192544-B984-4EF6-9C21-A819AE298C23}"/>
              </a:ext>
            </a:extLst>
          </p:cNvPr>
          <p:cNvSpPr/>
          <p:nvPr/>
        </p:nvSpPr>
        <p:spPr>
          <a:xfrm>
            <a:off x="8643859" y="313364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70A39E7-7A6B-4622-8389-B4AFF8831DD1}"/>
              </a:ext>
            </a:extLst>
          </p:cNvPr>
          <p:cNvGrpSpPr/>
          <p:nvPr/>
        </p:nvGrpSpPr>
        <p:grpSpPr>
          <a:xfrm>
            <a:off x="8820655" y="3246662"/>
            <a:ext cx="480889" cy="367004"/>
            <a:chOff x="7547014" y="2588377"/>
            <a:chExt cx="480889" cy="367004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id="{862290D6-78DD-4204-A87D-7515FEC23BC2}"/>
                </a:ext>
              </a:extLst>
            </p:cNvPr>
            <p:cNvSpPr/>
            <p:nvPr/>
          </p:nvSpPr>
          <p:spPr>
            <a:xfrm rot="13927642">
              <a:off x="7820488" y="254300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964F9F-325F-449E-ADD0-B7BD3DE8E033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Овал 27">
            <a:extLst>
              <a:ext uri="{FF2B5EF4-FFF2-40B4-BE49-F238E27FC236}">
                <a16:creationId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580809" y="5130996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548424" y="5221566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A4AC9E5F-CC19-4948-A472-C1C95B66F1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377" t="7801" r="7722" b="68562"/>
          <a:stretch/>
        </p:blipFill>
        <p:spPr>
          <a:xfrm>
            <a:off x="759274" y="1502089"/>
            <a:ext cx="10586016" cy="1799910"/>
          </a:xfrm>
          <a:prstGeom prst="rect">
            <a:avLst/>
          </a:prstGeom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55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0F3E5E1F-854C-47B1-B742-FC65338A7935}"/>
              </a:ext>
            </a:extLst>
          </p:cNvPr>
          <p:cNvSpPr txBox="1"/>
          <p:nvPr/>
        </p:nvSpPr>
        <p:spPr>
          <a:xfrm>
            <a:off x="105194" y="6458192"/>
            <a:ext cx="5097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* - Отображается количество пациентов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ервиса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формированию списков пациентов (2/2)</a:t>
            </a:r>
          </a:p>
        </p:txBody>
      </p:sp>
      <p:sp>
        <p:nvSpPr>
          <p:cNvPr id="27" name="Стрелка: вниз 26">
            <a:extLst>
              <a:ext uri="{FF2B5EF4-FFF2-40B4-BE49-F238E27FC236}">
                <a16:creationId xmlns:a16="http://schemas.microsoft.com/office/drawing/2014/main" id="{3728440A-B610-4DFB-B3D7-7DE1CBBD51DA}"/>
              </a:ext>
            </a:extLst>
          </p:cNvPr>
          <p:cNvSpPr/>
          <p:nvPr/>
        </p:nvSpPr>
        <p:spPr>
          <a:xfrm rot="13966318">
            <a:off x="10050281" y="3188517"/>
            <a:ext cx="162045" cy="252784"/>
          </a:xfrm>
          <a:prstGeom prst="downArrow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B75899-5D66-48C5-A04B-FE262CF471D4}"/>
              </a:ext>
            </a:extLst>
          </p:cNvPr>
          <p:cNvSpPr txBox="1"/>
          <p:nvPr/>
        </p:nvSpPr>
        <p:spPr>
          <a:xfrm>
            <a:off x="9804400" y="3301999"/>
            <a:ext cx="354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09768814-65D4-438E-9A3C-C9975A00AD8C}"/>
              </a:ext>
            </a:extLst>
          </p:cNvPr>
          <p:cNvSpPr/>
          <p:nvPr/>
        </p:nvSpPr>
        <p:spPr>
          <a:xfrm>
            <a:off x="847424" y="3983484"/>
            <a:ext cx="4963340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C5FE1D92-2AED-43F6-8B76-2B99ACC75DB0}"/>
              </a:ext>
            </a:extLst>
          </p:cNvPr>
          <p:cNvSpPr/>
          <p:nvPr/>
        </p:nvSpPr>
        <p:spPr>
          <a:xfrm>
            <a:off x="6436180" y="3910010"/>
            <a:ext cx="4963340" cy="179991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0FADB1-A830-4AA5-8A5A-F7FC9CB08C2C}"/>
              </a:ext>
            </a:extLst>
          </p:cNvPr>
          <p:cNvSpPr txBox="1"/>
          <p:nvPr/>
        </p:nvSpPr>
        <p:spPr>
          <a:xfrm>
            <a:off x="6697979" y="39834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91F3926-59EB-405E-A23B-993FB41FA416}"/>
              </a:ext>
            </a:extLst>
          </p:cNvPr>
          <p:cNvSpPr txBox="1"/>
          <p:nvPr/>
        </p:nvSpPr>
        <p:spPr>
          <a:xfrm>
            <a:off x="6697979" y="4308518"/>
            <a:ext cx="44051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кнопку «Сформировать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писок пациентов»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 умолчанию будут заполнены пол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едицинская организ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а формирования списко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569C93-505D-4AB8-A3E1-D11084834E54}"/>
              </a:ext>
            </a:extLst>
          </p:cNvPr>
          <p:cNvSpPr txBox="1"/>
          <p:nvPr/>
        </p:nvSpPr>
        <p:spPr>
          <a:xfrm>
            <a:off x="1046987" y="405695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CF07A27-B1AF-40C9-B671-A0C23F490F40}"/>
              </a:ext>
            </a:extLst>
          </p:cNvPr>
          <p:cNvSpPr txBox="1"/>
          <p:nvPr/>
        </p:nvSpPr>
        <p:spPr>
          <a:xfrm>
            <a:off x="1046987" y="4365572"/>
            <a:ext cx="47080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значение из выпадающего списка «Критерий пациентов», для формирования отчетов по пациентам после госпитализации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ли не госпитализированным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D89AA3B-3ECB-4C97-A7D7-9BB174362481}"/>
              </a:ext>
            </a:extLst>
          </p:cNvPr>
          <p:cNvSpPr/>
          <p:nvPr/>
        </p:nvSpPr>
        <p:spPr>
          <a:xfrm>
            <a:off x="2344301" y="2161230"/>
            <a:ext cx="3164959" cy="150226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0708E827-1884-488A-91C8-8EFC5C67CF9A}"/>
              </a:ext>
            </a:extLst>
          </p:cNvPr>
          <p:cNvSpPr/>
          <p:nvPr/>
        </p:nvSpPr>
        <p:spPr>
          <a:xfrm>
            <a:off x="7940011" y="257674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58207F4-4CC0-432C-9915-E3E2E680E6CF}"/>
              </a:ext>
            </a:extLst>
          </p:cNvPr>
          <p:cNvGrpSpPr/>
          <p:nvPr/>
        </p:nvGrpSpPr>
        <p:grpSpPr>
          <a:xfrm>
            <a:off x="8064903" y="2702206"/>
            <a:ext cx="524597" cy="393097"/>
            <a:chOff x="3399652" y="1293586"/>
            <a:chExt cx="524597" cy="393097"/>
          </a:xfrm>
        </p:grpSpPr>
        <p:sp>
          <p:nvSpPr>
            <p:cNvPr id="37" name="Стрелка: вниз 36">
              <a:extLst>
                <a:ext uri="{FF2B5EF4-FFF2-40B4-BE49-F238E27FC236}">
                  <a16:creationId xmlns:a16="http://schemas.microsoft.com/office/drawing/2014/main" id="{23E3B5DF-4B74-4ECA-B5D8-4366B36BC442}"/>
                </a:ext>
              </a:extLst>
            </p:cNvPr>
            <p:cNvSpPr/>
            <p:nvPr/>
          </p:nvSpPr>
          <p:spPr>
            <a:xfrm rot="7709436">
              <a:off x="3445021" y="124821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A1F8CBC-89CE-4F0B-A47B-90B77F26AB12}"/>
                </a:ext>
              </a:extLst>
            </p:cNvPr>
            <p:cNvSpPr txBox="1"/>
            <p:nvPr/>
          </p:nvSpPr>
          <p:spPr>
            <a:xfrm>
              <a:off x="3569753" y="134812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41" name="Овал 40">
            <a:extLst>
              <a:ext uri="{FF2B5EF4-FFF2-40B4-BE49-F238E27FC236}">
                <a16:creationId xmlns:a16="http://schemas.microsoft.com/office/drawing/2014/main" id="{78168830-2E85-4794-8F02-633EC8189998}"/>
              </a:ext>
            </a:extLst>
          </p:cNvPr>
          <p:cNvSpPr/>
          <p:nvPr/>
        </p:nvSpPr>
        <p:spPr>
          <a:xfrm>
            <a:off x="3125473" y="199942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F5AEAC0E-DDE5-4305-8798-095CE553EC87}"/>
              </a:ext>
            </a:extLst>
          </p:cNvPr>
          <p:cNvGrpSpPr/>
          <p:nvPr/>
        </p:nvGrpSpPr>
        <p:grpSpPr>
          <a:xfrm>
            <a:off x="3179100" y="2153524"/>
            <a:ext cx="504490" cy="377680"/>
            <a:chOff x="4196205" y="1668310"/>
            <a:chExt cx="504490" cy="377680"/>
          </a:xfrm>
        </p:grpSpPr>
        <p:sp>
          <p:nvSpPr>
            <p:cNvPr id="43" name="Стрелка: вниз 42">
              <a:extLst>
                <a:ext uri="{FF2B5EF4-FFF2-40B4-BE49-F238E27FC236}">
                  <a16:creationId xmlns:a16="http://schemas.microsoft.com/office/drawing/2014/main" id="{CCD469CE-4783-4F0E-BD93-0E10E880AA9B}"/>
                </a:ext>
              </a:extLst>
            </p:cNvPr>
            <p:cNvSpPr/>
            <p:nvPr/>
          </p:nvSpPr>
          <p:spPr>
            <a:xfrm rot="3292909">
              <a:off x="4241574" y="18385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84303DC-88B8-4147-84FC-112D93EF841C}"/>
                </a:ext>
              </a:extLst>
            </p:cNvPr>
            <p:cNvSpPr txBox="1"/>
            <p:nvPr/>
          </p:nvSpPr>
          <p:spPr>
            <a:xfrm>
              <a:off x="4346199" y="1668310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79858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71</TotalTime>
  <Words>757</Words>
  <Application>Microsoft Office PowerPoint</Application>
  <PresentationFormat>Широкоэкранный</PresentationFormat>
  <Paragraphs>137</Paragraphs>
  <Slides>10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Calibri</vt:lpstr>
      <vt:lpstr>Times New Roman</vt:lpstr>
      <vt:lpstr>Arial</vt:lpstr>
      <vt:lpstr>Tahoma</vt:lpstr>
      <vt:lpstr>HeliosCondC</vt:lpstr>
      <vt:lpstr>Montserrat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Давыденко Алексей</cp:lastModifiedBy>
  <cp:revision>895</cp:revision>
  <cp:lastPrinted>2020-04-17T06:55:34Z</cp:lastPrinted>
  <dcterms:created xsi:type="dcterms:W3CDTF">2019-06-12T19:36:33Z</dcterms:created>
  <dcterms:modified xsi:type="dcterms:W3CDTF">2020-07-06T15:55:26Z</dcterms:modified>
</cp:coreProperties>
</file>